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83" r:id="rId2"/>
    <p:sldId id="282" r:id="rId3"/>
    <p:sldId id="257" r:id="rId4"/>
    <p:sldId id="259" r:id="rId5"/>
    <p:sldId id="258" r:id="rId6"/>
    <p:sldId id="260" r:id="rId7"/>
    <p:sldId id="261" r:id="rId8"/>
    <p:sldId id="262" r:id="rId9"/>
    <p:sldId id="284" r:id="rId10"/>
    <p:sldId id="264" r:id="rId11"/>
    <p:sldId id="285" r:id="rId12"/>
    <p:sldId id="265" r:id="rId13"/>
    <p:sldId id="266" r:id="rId14"/>
    <p:sldId id="290" r:id="rId15"/>
    <p:sldId id="289" r:id="rId16"/>
    <p:sldId id="267" r:id="rId17"/>
    <p:sldId id="268" r:id="rId18"/>
    <p:sldId id="286" r:id="rId19"/>
    <p:sldId id="270" r:id="rId20"/>
    <p:sldId id="271" r:id="rId21"/>
    <p:sldId id="272" r:id="rId22"/>
    <p:sldId id="288" r:id="rId23"/>
    <p:sldId id="274" r:id="rId24"/>
    <p:sldId id="275" r:id="rId25"/>
    <p:sldId id="276" r:id="rId26"/>
    <p:sldId id="281" r:id="rId27"/>
    <p:sldId id="277" r:id="rId28"/>
    <p:sldId id="278" r:id="rId29"/>
    <p:sldId id="279" r:id="rId30"/>
    <p:sldId id="280" r:id="rId3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4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96EEC-B006-41E8-9EBB-7FD457E3CFB1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53E8A6-E1E0-4DDB-8249-192F151F2B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0557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F3EF3-EEE7-4EDC-AFF0-9AF589B4E7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228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016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595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566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8507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057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4527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6868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844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7893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971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4620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68B87B-166B-4F6B-A2D3-9A56D0E5FCEF}" type="datetimeFigureOut">
              <a:rPr lang="ru-RU" smtClean="0"/>
              <a:t>19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436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59F3402-F33E-4862-847C-13A1F54B2A9A}"/>
              </a:ext>
            </a:extLst>
          </p:cNvPr>
          <p:cNvSpPr/>
          <p:nvPr/>
        </p:nvSpPr>
        <p:spPr>
          <a:xfrm>
            <a:off x="0" y="1"/>
            <a:ext cx="12192000" cy="6891230"/>
          </a:xfrm>
          <a:prstGeom prst="rect">
            <a:avLst/>
          </a:prstGeom>
          <a:gradFill flip="none" rotWithShape="1">
            <a:gsLst>
              <a:gs pos="0">
                <a:srgbClr val="286B7F"/>
              </a:gs>
              <a:gs pos="10000">
                <a:srgbClr val="205666"/>
              </a:gs>
              <a:gs pos="25000">
                <a:srgbClr val="18404C"/>
              </a:gs>
              <a:gs pos="65000">
                <a:srgbClr val="08161A"/>
              </a:gs>
            </a:gsLst>
            <a:lin ang="3600000" scaled="0"/>
            <a:tileRect/>
          </a:gradFill>
          <a:ln cap="flat">
            <a:noFill/>
            <a:prstDash val="solid"/>
            <a:miter lim="0"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pis" panose="02000504000000020004" pitchFamily="2" charset="-52"/>
              <a:cs typeface="Arial" panose="020B0604020202020204" pitchFamily="34" charset="0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xmlns="" id="{E7CA5A03-88A4-57C6-CBF9-47074CBC27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952362E-6589-BB47-A04B-D5E8FB89641C}"/>
              </a:ext>
            </a:extLst>
          </p:cNvPr>
          <p:cNvSpPr txBox="1"/>
          <p:nvPr/>
        </p:nvSpPr>
        <p:spPr>
          <a:xfrm>
            <a:off x="283921" y="999804"/>
            <a:ext cx="100761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ODA | JAECOO</a:t>
            </a:r>
            <a:endParaRPr lang="x-none" sz="36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DE05262-C503-0A41-8088-DCCAAEA8AC4F}"/>
              </a:ext>
            </a:extLst>
          </p:cNvPr>
          <p:cNvSpPr txBox="1"/>
          <p:nvPr/>
        </p:nvSpPr>
        <p:spPr>
          <a:xfrm>
            <a:off x="324265" y="1975126"/>
            <a:ext cx="560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ка кандидата</a:t>
            </a:r>
          </a:p>
        </p:txBody>
      </p:sp>
      <p:sp>
        <p:nvSpPr>
          <p:cNvPr id="12" name="object 5">
            <a:extLst>
              <a:ext uri="{FF2B5EF4-FFF2-40B4-BE49-F238E27FC236}">
                <a16:creationId xmlns="" xmlns:a16="http://schemas.microsoft.com/office/drawing/2014/main" id="{63DCA0D5-59C7-4E98-B986-C265556F8E54}"/>
              </a:ext>
            </a:extLst>
          </p:cNvPr>
          <p:cNvSpPr/>
          <p:nvPr/>
        </p:nvSpPr>
        <p:spPr>
          <a:xfrm>
            <a:off x="7600426" y="2650596"/>
            <a:ext cx="4591574" cy="4240635"/>
          </a:xfrm>
          <a:custGeom>
            <a:avLst/>
            <a:gdLst/>
            <a:ahLst/>
            <a:cxnLst/>
            <a:rect l="l" t="t" r="r" b="b"/>
            <a:pathLst>
              <a:path w="5669280" h="5396230">
                <a:moveTo>
                  <a:pt x="2259139" y="4103332"/>
                </a:moveTo>
                <a:lnTo>
                  <a:pt x="1825561" y="3669741"/>
                </a:lnTo>
                <a:lnTo>
                  <a:pt x="1791347" y="3669677"/>
                </a:lnTo>
                <a:lnTo>
                  <a:pt x="1373365" y="3668776"/>
                </a:lnTo>
                <a:lnTo>
                  <a:pt x="0" y="5042141"/>
                </a:lnTo>
                <a:lnTo>
                  <a:pt x="1701" y="5396090"/>
                </a:lnTo>
                <a:lnTo>
                  <a:pt x="480834" y="5396090"/>
                </a:lnTo>
                <a:lnTo>
                  <a:pt x="429653" y="5344922"/>
                </a:lnTo>
                <a:lnTo>
                  <a:pt x="431431" y="5029593"/>
                </a:lnTo>
                <a:lnTo>
                  <a:pt x="1359598" y="4101427"/>
                </a:lnTo>
                <a:lnTo>
                  <a:pt x="2259139" y="4103332"/>
                </a:lnTo>
                <a:close/>
              </a:path>
              <a:path w="5669280" h="5396230">
                <a:moveTo>
                  <a:pt x="2681706" y="4525886"/>
                </a:moveTo>
                <a:lnTo>
                  <a:pt x="2385301" y="4229493"/>
                </a:lnTo>
                <a:lnTo>
                  <a:pt x="1805978" y="4228236"/>
                </a:lnTo>
                <a:lnTo>
                  <a:pt x="2251811" y="4674070"/>
                </a:lnTo>
                <a:lnTo>
                  <a:pt x="2250021" y="4989411"/>
                </a:lnTo>
                <a:lnTo>
                  <a:pt x="1843341" y="5396090"/>
                </a:lnTo>
                <a:lnTo>
                  <a:pt x="2262225" y="5396090"/>
                </a:lnTo>
                <a:lnTo>
                  <a:pt x="2681452" y="4976863"/>
                </a:lnTo>
                <a:lnTo>
                  <a:pt x="2681706" y="4525886"/>
                </a:lnTo>
                <a:close/>
              </a:path>
              <a:path w="5669280" h="5396230">
                <a:moveTo>
                  <a:pt x="4579163" y="3071799"/>
                </a:moveTo>
                <a:lnTo>
                  <a:pt x="4295076" y="3071736"/>
                </a:lnTo>
                <a:lnTo>
                  <a:pt x="4128541" y="3071698"/>
                </a:lnTo>
                <a:lnTo>
                  <a:pt x="3979151" y="3071672"/>
                </a:lnTo>
                <a:lnTo>
                  <a:pt x="3979253" y="2750667"/>
                </a:lnTo>
                <a:lnTo>
                  <a:pt x="3979303" y="2566886"/>
                </a:lnTo>
                <a:lnTo>
                  <a:pt x="3659949" y="2566162"/>
                </a:lnTo>
                <a:lnTo>
                  <a:pt x="3659949" y="3540290"/>
                </a:lnTo>
                <a:lnTo>
                  <a:pt x="3174517" y="4025722"/>
                </a:lnTo>
                <a:lnTo>
                  <a:pt x="2976105" y="3827310"/>
                </a:lnTo>
                <a:lnTo>
                  <a:pt x="2973959" y="3383623"/>
                </a:lnTo>
                <a:lnTo>
                  <a:pt x="3658298" y="3385172"/>
                </a:lnTo>
                <a:lnTo>
                  <a:pt x="3659949" y="3540290"/>
                </a:lnTo>
                <a:lnTo>
                  <a:pt x="3659949" y="2566162"/>
                </a:lnTo>
                <a:lnTo>
                  <a:pt x="3656685" y="2566149"/>
                </a:lnTo>
                <a:lnTo>
                  <a:pt x="3658882" y="3071025"/>
                </a:lnTo>
                <a:lnTo>
                  <a:pt x="3287331" y="3070237"/>
                </a:lnTo>
                <a:lnTo>
                  <a:pt x="2656649" y="3068917"/>
                </a:lnTo>
                <a:lnTo>
                  <a:pt x="2531719" y="2943987"/>
                </a:lnTo>
                <a:lnTo>
                  <a:pt x="2885478" y="2590241"/>
                </a:lnTo>
                <a:lnTo>
                  <a:pt x="2988132" y="2590482"/>
                </a:lnTo>
                <a:lnTo>
                  <a:pt x="3115513" y="2717850"/>
                </a:lnTo>
                <a:lnTo>
                  <a:pt x="3259239" y="2510434"/>
                </a:lnTo>
                <a:lnTo>
                  <a:pt x="3112262" y="2363457"/>
                </a:lnTo>
                <a:lnTo>
                  <a:pt x="2997136" y="2248331"/>
                </a:lnTo>
                <a:lnTo>
                  <a:pt x="2809024" y="2247823"/>
                </a:lnTo>
                <a:lnTo>
                  <a:pt x="2207679" y="2849168"/>
                </a:lnTo>
                <a:lnTo>
                  <a:pt x="2207971" y="2899003"/>
                </a:lnTo>
                <a:lnTo>
                  <a:pt x="2209012" y="2986303"/>
                </a:lnTo>
                <a:lnTo>
                  <a:pt x="2209317" y="3036138"/>
                </a:lnTo>
                <a:lnTo>
                  <a:pt x="2503271" y="3330092"/>
                </a:lnTo>
                <a:lnTo>
                  <a:pt x="2653500" y="3331730"/>
                </a:lnTo>
                <a:lnTo>
                  <a:pt x="2654960" y="4013720"/>
                </a:lnTo>
                <a:lnTo>
                  <a:pt x="3053029" y="4411777"/>
                </a:lnTo>
                <a:lnTo>
                  <a:pt x="3102876" y="4411688"/>
                </a:lnTo>
                <a:lnTo>
                  <a:pt x="3190227" y="4410989"/>
                </a:lnTo>
                <a:lnTo>
                  <a:pt x="3240074" y="4410900"/>
                </a:lnTo>
                <a:lnTo>
                  <a:pt x="3980421" y="3670554"/>
                </a:lnTo>
                <a:lnTo>
                  <a:pt x="3981081" y="3385731"/>
                </a:lnTo>
                <a:lnTo>
                  <a:pt x="4264596" y="3386378"/>
                </a:lnTo>
                <a:lnTo>
                  <a:pt x="4579163" y="3071799"/>
                </a:lnTo>
                <a:close/>
              </a:path>
              <a:path w="5669280" h="5396230">
                <a:moveTo>
                  <a:pt x="5668823" y="1824342"/>
                </a:moveTo>
                <a:lnTo>
                  <a:pt x="5478259" y="1633791"/>
                </a:lnTo>
                <a:lnTo>
                  <a:pt x="4409846" y="2702204"/>
                </a:lnTo>
                <a:lnTo>
                  <a:pt x="4926952" y="2743619"/>
                </a:lnTo>
                <a:lnTo>
                  <a:pt x="5668823" y="2001748"/>
                </a:lnTo>
                <a:lnTo>
                  <a:pt x="5668823" y="1824342"/>
                </a:lnTo>
                <a:close/>
              </a:path>
              <a:path w="5669280" h="5396230">
                <a:moveTo>
                  <a:pt x="5668823" y="1682915"/>
                </a:moveTo>
                <a:lnTo>
                  <a:pt x="5668810" y="629132"/>
                </a:lnTo>
                <a:lnTo>
                  <a:pt x="5039690" y="0"/>
                </a:lnTo>
                <a:lnTo>
                  <a:pt x="4512805" y="526897"/>
                </a:lnTo>
                <a:lnTo>
                  <a:pt x="5668823" y="1682915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935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 МАРКЕТИНГОВЫЙ БЮДЖЕТ</a:t>
            </a:r>
          </a:p>
        </p:txBody>
      </p:sp>
      <p:graphicFrame>
        <p:nvGraphicFramePr>
          <p:cNvPr id="9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132802"/>
              </p:ext>
            </p:extLst>
          </p:nvPr>
        </p:nvGraphicFramePr>
        <p:xfrm>
          <a:off x="335280" y="987574"/>
          <a:ext cx="11511098" cy="3147544"/>
        </p:xfrm>
        <a:graphic>
          <a:graphicData uri="http://schemas.openxmlformats.org/drawingml/2006/table">
            <a:tbl>
              <a:tblPr/>
              <a:tblGrid>
                <a:gridCol w="16115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58439"/>
                <a:gridCol w="245143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514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3827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28838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маркетинговых инвестиций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2496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ериод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7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924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TL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ероприятия, 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TL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ероприятия, 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AECOO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TL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ероприятия, 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TL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ероприятия, 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1282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179511" y="122487"/>
            <a:ext cx="8417481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ГНОЗНЫЙ ОТЧЕТ О ПРИБЫЛЯХ И УБЫТКАХ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047866"/>
              </p:ext>
            </p:extLst>
          </p:nvPr>
        </p:nvGraphicFramePr>
        <p:xfrm>
          <a:off x="323527" y="713687"/>
          <a:ext cx="6011357" cy="4194929"/>
        </p:xfrm>
        <a:graphic>
          <a:graphicData uri="http://schemas.openxmlformats.org/drawingml/2006/table">
            <a:tbl>
              <a:tblPr/>
              <a:tblGrid>
                <a:gridCol w="3425213"/>
                <a:gridCol w="862048"/>
                <a:gridCol w="862048"/>
                <a:gridCol w="862048"/>
              </a:tblGrid>
              <a:tr h="2275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дел продаж а/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е продажи автомобилей (опт + розница), шт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>
                        <a:defRPr/>
                      </a:pPr>
                      <a:r>
                        <a:rPr lang="ru-RU" sz="1000" b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ые </a:t>
                      </a:r>
                      <a:r>
                        <a:rPr lang="ru-RU" sz="1000" b="0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ажи, шт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знич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Выручка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знич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Валовая Прибыль,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ов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</a:t>
                      </a:r>
                      <a:r>
                        <a:rPr lang="ru-RU" sz="1000" b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шт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ов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ручка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ов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аловая Прибыль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23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 от продажи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ых / кредитных услуг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а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сессуаров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чи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мен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оян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5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прибыль от продаж новых а/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505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  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</a:tr>
              <a:tr h="2275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дел продаж подержанных а/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</a:t>
                      </a:r>
                      <a:r>
                        <a:rPr lang="ru-RU" sz="100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шт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Выручка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,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аловая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быль,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ие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менные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1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оянные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прибыль от продаж подержанных а/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713334"/>
              </p:ext>
            </p:extLst>
          </p:nvPr>
        </p:nvGraphicFramePr>
        <p:xfrm>
          <a:off x="6522664" y="713678"/>
          <a:ext cx="5160429" cy="5598002"/>
        </p:xfrm>
        <a:graphic>
          <a:graphicData uri="http://schemas.openxmlformats.org/drawingml/2006/table">
            <a:tbl>
              <a:tblPr/>
              <a:tblGrid>
                <a:gridCol w="2940360"/>
                <a:gridCol w="740023"/>
                <a:gridCol w="740023"/>
                <a:gridCol w="740023"/>
              </a:tblGrid>
              <a:tr h="2239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ханический цех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часы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заказ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ряды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Выручка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,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аловая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быль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,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и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оян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80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прибыль механического цех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 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</a:tr>
              <a:tr h="2239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зовной цех (при наличии)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часы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заказ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ряды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Выручка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,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, 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аловая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быль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, руб.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и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оян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69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прибыль кузовного цех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 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  <a:tc h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500" b="1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528" marR="3528" marT="1985" marB="0" anchor="b"/>
                </a:tc>
              </a:tr>
              <a:tr h="2239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ажи з/ч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/ч, Выручка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/ч, 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Валовая Прибыль,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сессуаров, Выручка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сессуаров,</a:t>
                      </a:r>
                      <a:r>
                        <a:rPr lang="ru-RU" sz="1000" b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Валовая Прибыль,</a:t>
                      </a:r>
                      <a:r>
                        <a:rPr lang="ru-RU" sz="1000" b="0" u="none" strike="noStrik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</a:rPr>
                        <a:t>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и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оянные 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61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прибыль от продажи з/ч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1688923"/>
              </p:ext>
            </p:extLst>
          </p:nvPr>
        </p:nvGraphicFramePr>
        <p:xfrm>
          <a:off x="323528" y="5075399"/>
          <a:ext cx="6011355" cy="1236277"/>
        </p:xfrm>
        <a:graphic>
          <a:graphicData uri="http://schemas.openxmlformats.org/drawingml/2006/table">
            <a:tbl>
              <a:tblPr/>
              <a:tblGrid>
                <a:gridCol w="3449140"/>
                <a:gridCol w="886921"/>
                <a:gridCol w="886921"/>
                <a:gridCol w="788373"/>
              </a:tblGrid>
              <a:tr h="2043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вые данны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r>
                        <a:rPr lang="ru-RU" sz="1000" b="1" u="none" strike="noStrik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6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 прибыль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делов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6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дминистративные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6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 на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бственность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6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ы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лаченные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6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88900" indent="0" algn="l" defTabSz="914400">
                        <a:defRPr/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чие </a:t>
                      </a: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, руб.</a:t>
                      </a:r>
                      <a:endParaRPr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0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ru-RU" sz="1000" b="1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чистая прибыль пери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28" marR="3528" marT="198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511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1665521"/>
              </p:ext>
            </p:extLst>
          </p:nvPr>
        </p:nvGraphicFramePr>
        <p:xfrm>
          <a:off x="327659" y="771550"/>
          <a:ext cx="11544301" cy="3373728"/>
        </p:xfrm>
        <a:graphic>
          <a:graphicData uri="http://schemas.openxmlformats.org/drawingml/2006/table">
            <a:tbl>
              <a:tblPr/>
              <a:tblGrid>
                <a:gridCol w="15787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414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240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7444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uilding construction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p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Формат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рганизации здания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ужное подчеркнуть)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1)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Greenfield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ово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60338" marR="0" lvl="0" indent="-1603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)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econstruction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Реконструкция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160338" marR="0" lvl="0" indent="-1603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3)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ebranding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ебрендин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789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acility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p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ип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илерского центра </a:t>
                      </a: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нужное подчеркнуть)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Моно-бренд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-бренд  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7890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acility detail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нные по помещению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Адрес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нтр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perty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tu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татус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обственности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Landplot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 земельного участк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оу-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 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/S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лесарный цех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rehouse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клад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616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mmunications availability (electricity, water, heating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аличие коммуникаций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электричество, вода, отопление)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789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erms of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launching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рок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отовности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нтра к запуску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ГГГГГ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27659" y="4311060"/>
            <a:ext cx="115443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000" dirty="0" smtClean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Требования </a:t>
            </a: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по площади </a:t>
            </a:r>
            <a:r>
              <a:rPr lang="ru-RU" sz="1000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шоурума</a:t>
            </a: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 в зависимости от типа города кандидата: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Город с населением 1+ млн -  </a:t>
            </a:r>
            <a:r>
              <a:rPr lang="ru-RU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450</a:t>
            </a:r>
            <a:r>
              <a:rPr lang="en-US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кв.м</a:t>
            </a:r>
            <a:r>
              <a:rPr lang="ru-RU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Город с населением 300 </a:t>
            </a:r>
            <a:r>
              <a:rPr lang="ru-RU" sz="1000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тыс</a:t>
            </a: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 – 1 млн – </a:t>
            </a:r>
            <a:r>
              <a:rPr lang="ru-RU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400 </a:t>
            </a:r>
            <a:r>
              <a:rPr lang="ru-RU" sz="1000" b="1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кв.м</a:t>
            </a:r>
            <a:r>
              <a:rPr lang="ru-RU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Город с населением менее 300 </a:t>
            </a:r>
            <a:r>
              <a:rPr lang="ru-RU" sz="1000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тыс</a:t>
            </a:r>
            <a:r>
              <a:rPr lang="ru-RU" sz="1000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350 </a:t>
            </a:r>
            <a:r>
              <a:rPr lang="ru-RU" sz="1000" b="1" dirty="0" err="1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кв.м</a:t>
            </a:r>
            <a:r>
              <a:rPr lang="ru-RU" sz="1000" b="1" dirty="0" smtClean="0">
                <a:latin typeface="Arial" panose="020B0604020202020204" pitchFamily="34" charset="0"/>
                <a:ea typeface="Noto Sans Light" panose="020B0402040504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ea typeface="Noto Sans Light" panose="020B040204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ФОРМАЦИЯ О ПРЕДЛОЖЕНИИ</a:t>
            </a:r>
          </a:p>
        </p:txBody>
      </p:sp>
    </p:spTree>
    <p:extLst>
      <p:ext uri="{BB962C8B-B14F-4D97-AF65-F5344CB8AC3E}">
        <p14:creationId xmlns:p14="http://schemas.microsoft.com/office/powerpoint/2010/main" val="27787554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140853"/>
              </p:ext>
            </p:extLst>
          </p:nvPr>
        </p:nvGraphicFramePr>
        <p:xfrm>
          <a:off x="342900" y="699542"/>
          <a:ext cx="11536681" cy="3930444"/>
        </p:xfrm>
        <a:graphic>
          <a:graphicData uri="http://schemas.openxmlformats.org/drawingml/2006/table">
            <a:tbl>
              <a:tblPr/>
              <a:tblGrid>
                <a:gridCol w="53808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519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5195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051951"/>
              </a:tblGrid>
              <a:tr h="628125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struction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chedul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роки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и этапы строительства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704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g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Этапы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чало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этап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inish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Завершени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этап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lanned investment 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едполагаемые инвестиции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ject development and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pproval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роектирование, получени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решительной документации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Ground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ork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Земельны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боты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asement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Фундаментны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боты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age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Закрыти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еплового контура здания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Interior wall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Возведени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нутренних стен и перегородок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inishing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ork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роведение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нутренних отделочных работ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ыс. руб.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echnical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udit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Готовность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 техническому аудиту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 of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pera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чало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перационной деятельности центр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РОКИ ВВОДА ОБЪЕКТА В ЭКСПЛУАТАЦИЮ</a:t>
            </a:r>
          </a:p>
        </p:txBody>
      </p:sp>
    </p:spTree>
    <p:extLst>
      <p:ext uri="{BB962C8B-B14F-4D97-AF65-F5344CB8AC3E}">
        <p14:creationId xmlns:p14="http://schemas.microsoft.com/office/powerpoint/2010/main" val="33075648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ВРЕМЕННОЕ РЕШЕНИЕ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266179"/>
              </p:ext>
            </p:extLst>
          </p:nvPr>
        </p:nvGraphicFramePr>
        <p:xfrm>
          <a:off x="327659" y="771550"/>
          <a:ext cx="11544301" cy="2699286"/>
        </p:xfrm>
        <a:graphic>
          <a:graphicData uri="http://schemas.openxmlformats.org/drawingml/2006/table">
            <a:tbl>
              <a:tblPr/>
              <a:tblGrid>
                <a:gridCol w="15787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414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240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7789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acility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p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ип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илерского центра </a:t>
                      </a: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нужное подчеркнуть)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Моно-бренд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-бренд  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7890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acility detail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нные по помещению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Адрес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нтр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perty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tus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татус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обственности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Landplot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 земельного участк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Га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оу-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 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/S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лесарный цех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7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rehouse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клад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616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s in the existing DC /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Бренды в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уществующем ДЦ</a:t>
                      </a: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789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 of use of the temporary solu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рок использования временного решения, мес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ес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1602" marR="81602" marT="30597" marB="305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12748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МАНДА ДИЛЕРСКОГО ЦЕНТР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7F59910F-2A71-44C3-8F73-30829EC2A4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333899"/>
              </p:ext>
            </p:extLst>
          </p:nvPr>
        </p:nvGraphicFramePr>
        <p:xfrm>
          <a:off x="308175" y="752354"/>
          <a:ext cx="11567449" cy="4595153"/>
        </p:xfrm>
        <a:graphic>
          <a:graphicData uri="http://schemas.openxmlformats.org/drawingml/2006/table">
            <a:tbl>
              <a:tblPr/>
              <a:tblGrid>
                <a:gridCol w="3279977">
                  <a:extLst>
                    <a:ext uri="{9D8B030D-6E8A-4147-A177-3AD203B41FA5}">
                      <a16:colId xmlns:a16="http://schemas.microsoft.com/office/drawing/2014/main" xmlns="" val="3668491915"/>
                    </a:ext>
                  </a:extLst>
                </a:gridCol>
                <a:gridCol w="8287472">
                  <a:extLst>
                    <a:ext uri="{9D8B030D-6E8A-4147-A177-3AD203B41FA5}">
                      <a16:colId xmlns:a16="http://schemas.microsoft.com/office/drawing/2014/main" xmlns="" val="353160684"/>
                    </a:ext>
                  </a:extLst>
                </a:gridCol>
              </a:tblGrid>
              <a:tr h="43983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Должность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аличие / Кол-в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уководитель отдела продаж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74840670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000" b="0" i="0" u="none" strike="noStrike" cap="none" spc="0" baseline="0" dirty="0"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  <a:sym typeface="Calibri"/>
                        </a:rPr>
                        <a:t>Старший менеджер по продажам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61167452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енеджер по продажа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7869469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енеджер по корпоративным продажам</a:t>
                      </a:r>
                      <a:endParaRPr lang="en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5422629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пециалист </a:t>
                      </a:r>
                      <a:r>
                        <a:rPr lang="en" sz="100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F&amp;I</a:t>
                      </a:r>
                      <a:endParaRPr lang="en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03054290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Диспонен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79013613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аркетоло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65790588"/>
                  </a:ext>
                </a:extLst>
              </a:tr>
              <a:tr h="277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енеджер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CRM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36424112"/>
                  </a:ext>
                </a:extLst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уководитель сервис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астер-консультант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еханик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Диагност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Инженер по гарантии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астер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цеха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02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енеджер по ЗЧ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895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13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АРТ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ЕГИОН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6157884"/>
            <a:ext cx="11708016" cy="338554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указанием предлагаемого города и расстояний до соседних городов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сутствия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MODA | JAECOO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57" y="699415"/>
            <a:ext cx="10387693" cy="5371607"/>
          </a:xfrm>
          <a:prstGeom prst="rect">
            <a:avLst/>
          </a:prstGeom>
        </p:spPr>
      </p:pic>
      <p:cxnSp>
        <p:nvCxnSpPr>
          <p:cNvPr id="6" name="Прямая со стрелкой 5"/>
          <p:cNvCxnSpPr/>
          <p:nvPr/>
        </p:nvCxnSpPr>
        <p:spPr>
          <a:xfrm>
            <a:off x="6343650" y="1065716"/>
            <a:ext cx="1656243" cy="322573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 стрелкой 6"/>
          <p:cNvCxnSpPr/>
          <p:nvPr/>
        </p:nvCxnSpPr>
        <p:spPr>
          <a:xfrm flipV="1">
            <a:off x="1767840" y="1475834"/>
            <a:ext cx="6225324" cy="4213766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 rot="663891">
            <a:off x="6793231" y="1232935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0 км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 rot="19487755">
            <a:off x="4927734" y="3433702"/>
            <a:ext cx="72954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 км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5614434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24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АРТ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ОРОД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12889" b="4580"/>
          <a:stretch/>
        </p:blipFill>
        <p:spPr>
          <a:xfrm>
            <a:off x="873759" y="779032"/>
            <a:ext cx="10035157" cy="509766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503920" y="944880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Северный широтный коридор, д.11 (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AL city/Pro, </a:t>
            </a:r>
            <a:r>
              <a:rPr lang="en-US" sz="10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ely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503920" y="1442057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Северная, д. 44 (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DA)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503920" y="1939234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Северная, д.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AL City)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503920" y="2436411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Интернациональная, д. 38 (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aris, </a:t>
            </a:r>
            <a:r>
              <a:rPr lang="en-US" sz="10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iyi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0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ic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tour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503920" y="2930990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60 лет Октября, д.52 (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RY/TENET, </a:t>
            </a:r>
            <a:r>
              <a:rPr lang="en-US" sz="10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an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вал 6"/>
          <p:cNvSpPr>
            <a:spLocks noChangeAspect="1"/>
          </p:cNvSpPr>
          <p:nvPr/>
        </p:nvSpPr>
        <p:spPr>
          <a:xfrm>
            <a:off x="5991810" y="3972390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>
            <a:spLocks noChangeAspect="1"/>
          </p:cNvSpPr>
          <p:nvPr/>
        </p:nvSpPr>
        <p:spPr>
          <a:xfrm>
            <a:off x="5581824" y="1948743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>
            <a:spLocks noChangeAspect="1"/>
          </p:cNvSpPr>
          <p:nvPr/>
        </p:nvSpPr>
        <p:spPr>
          <a:xfrm>
            <a:off x="6577330" y="2807087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>
            <a:spLocks noChangeAspect="1"/>
          </p:cNvSpPr>
          <p:nvPr/>
        </p:nvSpPr>
        <p:spPr>
          <a:xfrm>
            <a:off x="4138930" y="2436411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единительная линия 14"/>
          <p:cNvCxnSpPr>
            <a:endCxn id="19" idx="1"/>
          </p:cNvCxnSpPr>
          <p:nvPr/>
        </p:nvCxnSpPr>
        <p:spPr>
          <a:xfrm flipV="1">
            <a:off x="4248150" y="2117034"/>
            <a:ext cx="4255770" cy="3670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stCxn id="26" idx="6"/>
            <a:endCxn id="18" idx="1"/>
          </p:cNvCxnSpPr>
          <p:nvPr/>
        </p:nvCxnSpPr>
        <p:spPr>
          <a:xfrm flipV="1">
            <a:off x="5689824" y="1619857"/>
            <a:ext cx="2814096" cy="3828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>
            <a:endCxn id="20" idx="1"/>
          </p:cNvCxnSpPr>
          <p:nvPr/>
        </p:nvCxnSpPr>
        <p:spPr>
          <a:xfrm flipV="1">
            <a:off x="6685330" y="2614211"/>
            <a:ext cx="1818590" cy="2483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>
            <a:stCxn id="7" idx="6"/>
            <a:endCxn id="21" idx="1"/>
          </p:cNvCxnSpPr>
          <p:nvPr/>
        </p:nvCxnSpPr>
        <p:spPr>
          <a:xfrm flipV="1">
            <a:off x="6099810" y="3108790"/>
            <a:ext cx="2404110" cy="917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Овал 36"/>
          <p:cNvSpPr>
            <a:spLocks noChangeAspect="1"/>
          </p:cNvSpPr>
          <p:nvPr/>
        </p:nvSpPr>
        <p:spPr>
          <a:xfrm>
            <a:off x="6469330" y="1312438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9" name="Прямая соединительная линия 38"/>
          <p:cNvCxnSpPr>
            <a:stCxn id="37" idx="6"/>
            <a:endCxn id="5" idx="1"/>
          </p:cNvCxnSpPr>
          <p:nvPr/>
        </p:nvCxnSpPr>
        <p:spPr>
          <a:xfrm flipV="1">
            <a:off x="6577330" y="1122680"/>
            <a:ext cx="1926590" cy="24375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342900" y="943881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: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Интернациональная, д. 10П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Прямая соединительная линия 42"/>
          <p:cNvCxnSpPr>
            <a:stCxn id="41" idx="3"/>
          </p:cNvCxnSpPr>
          <p:nvPr/>
        </p:nvCxnSpPr>
        <p:spPr>
          <a:xfrm>
            <a:off x="3695700" y="1121681"/>
            <a:ext cx="866140" cy="4226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42900" y="5948474"/>
            <a:ext cx="11513820" cy="830997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Указать </a:t>
            </a:r>
            <a:r>
              <a:rPr lang="ru-RU" sz="16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местоположения ваших дилерских центров 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и ДЦ конкурентов.</a:t>
            </a:r>
            <a:endParaRPr lang="ru-RU" sz="16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Указать расстояния от места нахождения здания по заявке до </a:t>
            </a:r>
            <a:r>
              <a:rPr lang="ru-RU" sz="16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б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лижайших существующих дилерских центров </a:t>
            </a:r>
            <a:r>
              <a:rPr lang="en-US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O&amp;J, CHERY/TENET, </a:t>
            </a:r>
            <a:r>
              <a:rPr lang="en-US" sz="16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hangan</a:t>
            </a:r>
            <a:r>
              <a:rPr lang="en-US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Geely</a:t>
            </a:r>
            <a:r>
              <a:rPr lang="en-US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Haval</a:t>
            </a:r>
            <a:r>
              <a:rPr lang="en-US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LADA, </a:t>
            </a:r>
            <a:r>
              <a:rPr lang="en-US" sz="16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Jetour</a:t>
            </a:r>
            <a:r>
              <a:rPr lang="en-US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и др.</a:t>
            </a:r>
            <a:endParaRPr lang="ru-RU" sz="16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4" name="Прямая со стрелкой 43"/>
          <p:cNvCxnSpPr/>
          <p:nvPr/>
        </p:nvCxnSpPr>
        <p:spPr>
          <a:xfrm flipV="1">
            <a:off x="4612508" y="1389209"/>
            <a:ext cx="1856822" cy="177854"/>
          </a:xfrm>
          <a:prstGeom prst="straightConnector1">
            <a:avLst/>
          </a:prstGeom>
          <a:ln w="127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3850740" y="1757222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км</a:t>
            </a:r>
            <a:endParaRPr lang="ru-RU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Прямая со стрелкой 47"/>
          <p:cNvCxnSpPr/>
          <p:nvPr/>
        </p:nvCxnSpPr>
        <p:spPr>
          <a:xfrm flipV="1">
            <a:off x="4246930" y="1582062"/>
            <a:ext cx="314910" cy="795943"/>
          </a:xfrm>
          <a:prstGeom prst="straightConnector1">
            <a:avLst/>
          </a:prstGeom>
          <a:ln w="127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>
            <a:off x="4612508" y="1604195"/>
            <a:ext cx="969316" cy="375839"/>
          </a:xfrm>
          <a:prstGeom prst="straightConnector1">
            <a:avLst/>
          </a:prstGeom>
          <a:ln w="127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5159634" y="1117687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км</a:t>
            </a:r>
            <a:endParaRPr lang="ru-RU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973165" y="1549142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5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м</a:t>
            </a:r>
            <a:endParaRPr lang="ru-RU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6813725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1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АРТ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АЙОН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35280" y="6133764"/>
            <a:ext cx="11551920" cy="584775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Указать </a:t>
            </a:r>
            <a:r>
              <a:rPr lang="ru-RU" sz="16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важные на Ваш взгляд объекты: направление основного трафика, ближайшие автомобильные ДЦ, 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крупные </a:t>
            </a:r>
            <a:r>
              <a:rPr lang="ru-RU" sz="16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торговые 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центры, жилые кварталы </a:t>
            </a:r>
            <a:r>
              <a:rPr lang="ru-RU" sz="16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и </a:t>
            </a:r>
            <a:r>
              <a:rPr lang="ru-RU" sz="16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т.д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5262" b="759"/>
          <a:stretch/>
        </p:blipFill>
        <p:spPr>
          <a:xfrm>
            <a:off x="0" y="657925"/>
            <a:ext cx="12192000" cy="5352586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342900" y="943881"/>
            <a:ext cx="335280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: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Интернациональная, д. 10П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>
            <a:stCxn id="18" idx="2"/>
            <a:endCxn id="23" idx="1"/>
          </p:cNvCxnSpPr>
          <p:nvPr/>
        </p:nvCxnSpPr>
        <p:spPr>
          <a:xfrm>
            <a:off x="2019300" y="1299481"/>
            <a:ext cx="873531" cy="1366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Овал 22"/>
          <p:cNvSpPr>
            <a:spLocks noChangeAspect="1"/>
          </p:cNvSpPr>
          <p:nvPr/>
        </p:nvSpPr>
        <p:spPr>
          <a:xfrm>
            <a:off x="2877015" y="2650465"/>
            <a:ext cx="108000" cy="10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898512" y="4540524"/>
            <a:ext cx="3032567" cy="13658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ЫЕ КВАРТАЛЫ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1657942"/>
            <a:ext cx="2019300" cy="13658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. ПРЕДПРИЯТИЯ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902481" y="745443"/>
            <a:ext cx="2019300" cy="13658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. ПРЕДПРИЯТИЯ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Стрелка вправо 28"/>
          <p:cNvSpPr/>
          <p:nvPr/>
        </p:nvSpPr>
        <p:spPr>
          <a:xfrm rot="2005610">
            <a:off x="3067963" y="3291017"/>
            <a:ext cx="2322378" cy="664826"/>
          </a:xfrm>
          <a:prstGeom prst="rightArrow">
            <a:avLst>
              <a:gd name="adj1" fmla="val 74033"/>
              <a:gd name="adj2" fmla="val 71761"/>
            </a:avLst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Въезд в город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323512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/>
          <a:srcRect t="13424"/>
          <a:stretch/>
        </p:blipFill>
        <p:spPr>
          <a:xfrm>
            <a:off x="1818618" y="694481"/>
            <a:ext cx="8562191" cy="6018501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17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ХЕМА ГЕНЕРАЛЬНОГО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ЛАНА УЧАСТК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solidFill>
            <a:schemeClr val="bg1"/>
          </a:solidFill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911148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5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4422094"/>
              </p:ext>
            </p:extLst>
          </p:nvPr>
        </p:nvGraphicFramePr>
        <p:xfrm>
          <a:off x="335280" y="1275606"/>
          <a:ext cx="11521440" cy="999601"/>
        </p:xfrm>
        <a:graphic>
          <a:graphicData uri="http://schemas.openxmlformats.org/drawingml/2006/table">
            <a:tbl>
              <a:tblPr/>
              <a:tblGrid>
                <a:gridCol w="28494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720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25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Company</a:t>
                      </a:r>
                      <a:r>
                        <a:rPr kumimoji="0" lang="ru-RU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kumimoji="0" lang="en-US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/</a:t>
                      </a:r>
                      <a:r>
                        <a:rPr kumimoji="0" lang="ru-RU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kumimoji="0" lang="ru-RU" sz="10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Компания</a:t>
                      </a:r>
                      <a:endParaRPr kumimoji="0" lang="ru-RU" sz="10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5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City</a:t>
                      </a:r>
                      <a:r>
                        <a:rPr kumimoji="0" lang="ru-RU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/ </a:t>
                      </a:r>
                      <a:r>
                        <a:rPr kumimoji="0" lang="ru-RU" sz="10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Город</a:t>
                      </a:r>
                      <a:endParaRPr kumimoji="0" lang="ru-RU" sz="10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76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Date</a:t>
                      </a:r>
                      <a:r>
                        <a:rPr kumimoji="0" lang="ru-RU" sz="10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/ </a:t>
                      </a:r>
                      <a:r>
                        <a:rPr kumimoji="0" lang="ru-RU" sz="10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Дата</a:t>
                      </a:r>
                      <a:endParaRPr kumimoji="0" lang="ru-RU" sz="10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1E5FF63-38E1-471C-8A91-5C72D026FAF3}"/>
              </a:ext>
            </a:extLst>
          </p:cNvPr>
          <p:cNvSpPr/>
          <p:nvPr/>
        </p:nvSpPr>
        <p:spPr>
          <a:xfrm>
            <a:off x="335280" y="2499742"/>
            <a:ext cx="11521440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оящим подтверждаю полноту и достоверность информации, содержащейся в настоящей заявке, и даю согласие на проведение </a:t>
            </a:r>
            <a:r>
              <a:rPr lang="ru-RU" sz="1000" dirty="0" smtClean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ДЖЕЙЛЭНД РУС» (далее 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«</a:t>
            </a:r>
            <a:r>
              <a:rPr lang="ru-RU" sz="1000" dirty="0" smtClean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») 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Адрес местонахождения юридического лица: 125171, г. Москва, </a:t>
            </a:r>
            <a:r>
              <a:rPr lang="ru-RU" sz="1000" dirty="0" err="1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</a:t>
            </a:r>
            <a:r>
              <a:rPr lang="ru-RU" sz="1000" dirty="0" smtClean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р. г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униципальный округ </a:t>
            </a:r>
            <a:r>
              <a:rPr lang="ru-RU" sz="1000" dirty="0" err="1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йковский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ш. Ленинградское, д. 16А, стр. 2; Фактический (почтовый) адрес: 125171, г. Москва, Ленинградское шоссе, д. 16А, стр. 2, этаж </a:t>
            </a:r>
            <a:r>
              <a:rPr lang="ru-RU" sz="1000" dirty="0" smtClean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; 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/КПП 7720939990/774301001</a:t>
            </a:r>
            <a:r>
              <a:rPr lang="ru-RU" sz="1000" dirty="0" smtClean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ки и анализа указанной информации, а также на обработку Оператором моих персональных данных (фамилия, имя, отчество; контактные (коммуникационные) данные), обрабатываемых с целью рассмотрения заявки. В случае предоставления в анкете сведений о третьих лицах, гарантирую наличие правовых оснований для их предоставления и уведомление этих третьих лиц о последующей обработке Оператором.</a:t>
            </a:r>
            <a:endParaRPr lang="ru-RU" sz="1000" b="0" i="0" dirty="0">
              <a:solidFill>
                <a:srgbClr val="1A1A1A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062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5458" y="612553"/>
            <a:ext cx="5874273" cy="5874273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109814"/>
              </p:ext>
            </p:extLst>
          </p:nvPr>
        </p:nvGraphicFramePr>
        <p:xfrm>
          <a:off x="251520" y="915566"/>
          <a:ext cx="3240360" cy="2002920"/>
        </p:xfrm>
        <a:graphic>
          <a:graphicData uri="http://schemas.openxmlformats.org/drawingml/2006/table">
            <a:tbl>
              <a:tblPr/>
              <a:tblGrid>
                <a:gridCol w="21602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Шоу-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/S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лесарный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</a:b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odyshop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Кузовной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х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r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sh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л-во постов мойки 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ervice post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л-во постов сервиса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rehouse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Площадь склада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79511" y="3025864"/>
            <a:ext cx="331236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упьтибрендовом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центре обозначить н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хеме зоны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сты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деляемые 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Бренд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OMODA | JAECOO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казанием кв. м.)</a:t>
            </a:r>
          </a:p>
        </p:txBody>
      </p:sp>
      <p:sp>
        <p:nvSpPr>
          <p:cNvPr id="10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ХЕМ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ИЛЕРСКОГО ЦЕНТРА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ложе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845215" y="3495554"/>
            <a:ext cx="4572000" cy="2314937"/>
          </a:xfrm>
          <a:prstGeom prst="rect">
            <a:avLst/>
          </a:prstGeom>
          <a:solidFill>
            <a:schemeClr val="accent4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УРУМ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881826" y="816465"/>
            <a:ext cx="4572000" cy="1806380"/>
          </a:xfrm>
          <a:prstGeom prst="rect">
            <a:avLst/>
          </a:prstGeom>
          <a:solidFill>
            <a:schemeClr val="accent1">
              <a:lumMod val="60000"/>
              <a:lumOff val="4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607558" y="2646499"/>
            <a:ext cx="1846268" cy="849055"/>
          </a:xfrm>
          <a:prstGeom prst="rect">
            <a:avLst/>
          </a:prstGeom>
          <a:solidFill>
            <a:schemeClr val="accent3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886937" y="2623349"/>
            <a:ext cx="1668648" cy="779608"/>
          </a:xfrm>
          <a:prstGeom prst="rect">
            <a:avLst/>
          </a:prstGeom>
          <a:solidFill>
            <a:schemeClr val="accent1">
              <a:lumMod val="60000"/>
              <a:lumOff val="4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845215" y="2643719"/>
            <a:ext cx="1041722" cy="779608"/>
          </a:xfrm>
          <a:prstGeom prst="rect">
            <a:avLst/>
          </a:prstGeom>
          <a:solidFill>
            <a:schemeClr val="accent1">
              <a:lumMod val="7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ая приемка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solidFill>
            <a:schemeClr val="bg1"/>
          </a:solidFill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1241419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6103" y="829801"/>
            <a:ext cx="7886267" cy="4537011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254804"/>
              </p:ext>
            </p:extLst>
          </p:nvPr>
        </p:nvGraphicFramePr>
        <p:xfrm>
          <a:off x="251520" y="915566"/>
          <a:ext cx="3240360" cy="616840"/>
        </p:xfrm>
        <a:graphic>
          <a:graphicData uri="http://schemas.openxmlformats.org/drawingml/2006/table">
            <a:tbl>
              <a:tblPr/>
              <a:tblGrid>
                <a:gridCol w="21602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Шоу-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 Ширина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*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eiling height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Высота потолка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endParaRPr kumimoji="0" lang="ru-RU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79511" y="1748430"/>
            <a:ext cx="33843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* - Расчетная площадь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шоурум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включает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ебя сумму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ей зо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• демонстрации автомобилей;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• размещения сотрудников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фрон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фи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• выдачи автомобилей;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о исключает закрытые помеще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уалетные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на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кассы,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спомогательны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мещения,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ереговорные, кабинеты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ОП, директор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т.д.).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расчет принимаются только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и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1-ого этажа</a:t>
            </a:r>
          </a:p>
        </p:txBody>
      </p:sp>
      <p:sp>
        <p:nvSpPr>
          <p:cNvPr id="10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ЛАНИРОВКА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ШОУРУМ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ложени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solidFill>
            <a:schemeClr val="bg1"/>
          </a:solidFill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180297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3445" y="915566"/>
            <a:ext cx="8398831" cy="4096272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34866"/>
              </p:ext>
            </p:extLst>
          </p:nvPr>
        </p:nvGraphicFramePr>
        <p:xfrm>
          <a:off x="251520" y="915566"/>
          <a:ext cx="3240360" cy="1603060"/>
        </p:xfrm>
        <a:graphic>
          <a:graphicData uri="http://schemas.openxmlformats.org/drawingml/2006/table">
            <a:tbl>
              <a:tblPr/>
              <a:tblGrid>
                <a:gridCol w="21602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/S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лесарный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х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</a:b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odyshop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Кузовной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цех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змер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л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х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ирина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x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r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sh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л-во постов мойки 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ervice post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л-во постов сервиса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arehouse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Площадь склада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86116" marR="86116" marT="32290" marB="32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79511" y="2665824"/>
            <a:ext cx="331236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упьтибрендовом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центре обозначить н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хеме зоны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сты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деляемые 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Бренд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OMODA | JAECOO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казанием кв. м.)</a:t>
            </a:r>
          </a:p>
        </p:txBody>
      </p:sp>
      <p:sp>
        <p:nvSpPr>
          <p:cNvPr id="16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ЛАНИРОВКА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ЕРВИСНОЙ ЗОНЫ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ложени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solidFill>
            <a:schemeClr val="bg1"/>
          </a:solidFill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907645" y="3869275"/>
            <a:ext cx="1470006" cy="934219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4907645" y="5054332"/>
            <a:ext cx="1470006" cy="57541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ая приемка </a:t>
            </a:r>
            <a:r>
              <a:rPr lang="en-US" sz="105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&amp;J</a:t>
            </a:r>
            <a:endParaRPr lang="ru-RU" sz="105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9044110" y="2622844"/>
            <a:ext cx="1348901" cy="3835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ы </a:t>
            </a:r>
            <a:r>
              <a:rPr lang="en-US" sz="105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&amp;J</a:t>
            </a:r>
            <a:endParaRPr lang="ru-RU" sz="105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580227" y="1297665"/>
            <a:ext cx="2068482" cy="1220961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9598828" y="5054332"/>
            <a:ext cx="1348901" cy="3835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 </a:t>
            </a:r>
            <a:r>
              <a:rPr lang="en-US" sz="105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&amp;J</a:t>
            </a:r>
            <a:endParaRPr lang="ru-RU" sz="105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820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прилегающей территории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прилегающей территории</a:t>
            </a: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егающая территория</a:t>
            </a:r>
          </a:p>
        </p:txBody>
      </p:sp>
    </p:spTree>
    <p:extLst>
      <p:ext uri="{BB962C8B-B14F-4D97-AF65-F5344CB8AC3E}">
        <p14:creationId xmlns:p14="http://schemas.microsoft.com/office/powerpoint/2010/main" val="42563794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участка по фасаду справ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odern H Medium" panose="020B0603000000020004" pitchFamily="34" charset="-128"/>
                <a:cs typeface="Arial" panose="020B0604020202020204" pitchFamily="34" charset="0"/>
              </a:rPr>
              <a:t>Фото участка по фасаду слева</a:t>
            </a:r>
            <a:endParaRPr lang="ru-RU" sz="1000" dirty="0">
              <a:latin typeface="Arial" panose="020B0604020202020204" pitchFamily="34" charset="0"/>
              <a:ea typeface="Modern H Medium" panose="020B06030000000200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егающая территория</a:t>
            </a:r>
          </a:p>
        </p:txBody>
      </p:sp>
    </p:spTree>
    <p:extLst>
      <p:ext uri="{BB962C8B-B14F-4D97-AF65-F5344CB8AC3E}">
        <p14:creationId xmlns:p14="http://schemas.microsoft.com/office/powerpoint/2010/main" val="17683021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</a:t>
            </a:r>
            <a:r>
              <a:rPr lang="ru-RU" sz="10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шоурум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</a:t>
            </a:r>
            <a:r>
              <a:rPr lang="ru-RU" sz="1000" dirty="0" err="1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шоурум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Шоурум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1260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Шоурум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зоны выдачи новых а/м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зоны выдачи новых а/м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657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сервис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сервис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ная зона</a:t>
            </a:r>
          </a:p>
        </p:txBody>
      </p:sp>
    </p:spTree>
    <p:extLst>
      <p:ext uri="{BB962C8B-B14F-4D97-AF65-F5344CB8AC3E}">
        <p14:creationId xmlns:p14="http://schemas.microsoft.com/office/powerpoint/2010/main" val="24451272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мойки новых а/м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мойки новых а/м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ная зона</a:t>
            </a:r>
          </a:p>
        </p:txBody>
      </p:sp>
    </p:spTree>
    <p:extLst>
      <p:ext uri="{BB962C8B-B14F-4D97-AF65-F5344CB8AC3E}">
        <p14:creationId xmlns:p14="http://schemas.microsoft.com/office/powerpoint/2010/main" val="7559770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кузовного сервис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кузовного сервиса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ная зона</a:t>
            </a:r>
          </a:p>
        </p:txBody>
      </p:sp>
    </p:spTree>
    <p:extLst>
      <p:ext uri="{BB962C8B-B14F-4D97-AF65-F5344CB8AC3E}">
        <p14:creationId xmlns:p14="http://schemas.microsoft.com/office/powerpoint/2010/main" val="4279321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014518"/>
              </p:ext>
            </p:extLst>
          </p:nvPr>
        </p:nvGraphicFramePr>
        <p:xfrm>
          <a:off x="342899" y="621329"/>
          <a:ext cx="11536681" cy="1950067"/>
        </p:xfrm>
        <a:graphic>
          <a:graphicData uri="http://schemas.openxmlformats.org/drawingml/2006/table">
            <a:tbl>
              <a:tblPr/>
              <a:tblGrid>
                <a:gridCol w="28828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713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9520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3872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43462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tact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information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Контактная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информация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4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Legal Entity </a:t>
                      </a: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Name</a:t>
                      </a:r>
                      <a:r>
                        <a:rPr kumimoji="0" lang="ru-RU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Наименование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4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</a:t>
                      </a:r>
                      <a:r>
                        <a:rPr kumimoji="0" lang="ru-RU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Адрес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ИНН: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4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адастровый номер участка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69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tacts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Контакты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number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елефон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 for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rrespondence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очтовый адрес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ebsite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еб-сайт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885222"/>
              </p:ext>
            </p:extLst>
          </p:nvPr>
        </p:nvGraphicFramePr>
        <p:xfrm>
          <a:off x="342900" y="2641308"/>
          <a:ext cx="11536681" cy="3645191"/>
        </p:xfrm>
        <a:graphic>
          <a:graphicData uri="http://schemas.openxmlformats.org/drawingml/2006/table">
            <a:tbl>
              <a:tblPr/>
              <a:tblGrid>
                <a:gridCol w="28828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906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8588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8456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927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56889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roject 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anagement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Менеджеры 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проекта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68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osition</a:t>
                      </a:r>
                      <a:r>
                        <a:rPr kumimoji="0" lang="ru-RU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/ Должность</a:t>
                      </a:r>
                      <a:endParaRPr kumimoji="0" lang="ru-RU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O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Гендиректор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roject 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anager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Менеджер </a:t>
                      </a: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проекта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25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Name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0" lang="ru-RU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/ ФИО</a:t>
                      </a:r>
                      <a:endParaRPr kumimoji="0" lang="ru-RU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97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ontacts</a:t>
                      </a:r>
                      <a:r>
                        <a:rPr kumimoji="0" lang="ru-RU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/ Контакты</a:t>
                      </a:r>
                      <a:endParaRPr kumimoji="0" lang="ru-RU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ll 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-mail: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ll 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-mail: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23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irthday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День 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ождения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23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ducation</a:t>
                      </a:r>
                      <a:r>
                        <a:rPr kumimoji="0" lang="ru-RU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Образование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23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xperience</a:t>
                      </a:r>
                      <a:r>
                        <a:rPr kumimoji="0" lang="ru-RU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Опыт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ЩАЯ ИНФОРМАЦИЯ О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36770583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склада з/ч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склада з/ч</a:t>
            </a:r>
            <a:endParaRPr lang="ru-RU" sz="10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91248"/>
            <a:ext cx="8446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ная зона</a:t>
            </a:r>
          </a:p>
        </p:txBody>
      </p:sp>
    </p:spTree>
    <p:extLst>
      <p:ext uri="{BB962C8B-B14F-4D97-AF65-F5344CB8AC3E}">
        <p14:creationId xmlns:p14="http://schemas.microsoft.com/office/powerpoint/2010/main" val="41331897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2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306656"/>
              </p:ext>
            </p:extLst>
          </p:nvPr>
        </p:nvGraphicFramePr>
        <p:xfrm>
          <a:off x="342899" y="843560"/>
          <a:ext cx="11513821" cy="5689763"/>
        </p:xfrm>
        <a:graphic>
          <a:graphicData uri="http://schemas.openxmlformats.org/drawingml/2006/table">
            <a:tbl>
              <a:tblPr/>
              <a:tblGrid>
                <a:gridCol w="32900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098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8098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60419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85366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areholders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Учредители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Nam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Имя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irthday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Дата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ождения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нтактный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ell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Контактный мобильный телефон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ke Capital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mount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Сумма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уставного капитала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%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mpany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file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Сфера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еятельности 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8483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to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Фото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ФОРМАЦИЯ ОБ УЧРЕДИТЕЛЯХ</a:t>
            </a:r>
          </a:p>
        </p:txBody>
      </p:sp>
    </p:spTree>
    <p:extLst>
      <p:ext uri="{BB962C8B-B14F-4D97-AF65-F5344CB8AC3E}">
        <p14:creationId xmlns:p14="http://schemas.microsoft.com/office/powerpoint/2010/main" val="2071338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pic>
        <p:nvPicPr>
          <p:cNvPr id="3" name="Picture 2" descr="http://www.bankreferatov.ru/Images/48/C325729F00717F7B43257B0B0009CE48/%D0%A3%D1%87%D0%B5%D1%82%20%D1%82%D1%80%D1%83%D0%B4%D0%B0%20%D0%B8%20%D0%B7%D0%B0%D1%80%D0%B0%D0%B1%D0%BE%D1%82%D0%BD%D0%BE%D0%B9%20%D0%BF%D0%BB%D0%B0%D1%82%D1%8B%20%D0%BD%D0%B0%20%D0%9E%D0%9E%D0%9E%20%D0%90%D0%B2%D1%82%D0%BE%D0%BC%D0%BE%D0%B1%D0%B8%D0%BB%D0%B8%20%D0%91%D0%B0%D0%B2%D0%B0%D1%80%D0%B8%D0%B8.doc/img1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44" y="946249"/>
            <a:ext cx="9413855" cy="410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ОННАЯ СТРУКТУРА</a:t>
            </a: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342900" y="5609389"/>
            <a:ext cx="11521440" cy="479985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Если компания, подающая заявку на получение статуса официального дилера, является частью группы компаний или холдинга, необходимо предоставить организационную структуру локации, как она будет выглядеть с учетом </a:t>
            </a:r>
            <a:r>
              <a:rPr lang="en-US" sz="12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OMODA | JAECOO</a:t>
            </a:r>
            <a:r>
              <a:rPr lang="ru-RU" sz="12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на текущем слайде</a:t>
            </a:r>
            <a:r>
              <a:rPr lang="ru-RU" sz="1200" dirty="0" smtClean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.</a:t>
            </a:r>
            <a:endParaRPr lang="ru-RU" sz="1200" dirty="0"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484270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pic>
        <p:nvPicPr>
          <p:cNvPr id="3" name="Picture 2" descr="http://corporate.amiro.ru/_mod_files/ce_images/vi-sshem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51" y="1131589"/>
            <a:ext cx="9269308" cy="4171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ОННАЯ СТРУКТУРА ХОЛДИНГ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1083343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377523"/>
              </p:ext>
            </p:extLst>
          </p:nvPr>
        </p:nvGraphicFramePr>
        <p:xfrm>
          <a:off x="350520" y="627534"/>
          <a:ext cx="11513818" cy="5844098"/>
        </p:xfrm>
        <a:graphic>
          <a:graphicData uri="http://schemas.openxmlformats.org/drawingml/2006/table">
            <a:tbl>
              <a:tblPr/>
              <a:tblGrid>
                <a:gridCol w="25176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992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992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9924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9924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99241"/>
              </a:tblGrid>
              <a:tr h="1477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s in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ortfolio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Бренды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 портфолио кандидат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1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2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3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4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55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 of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usiness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ачало    деятельности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491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 and W.S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лощадь Шоу-</a:t>
                      </a:r>
                      <a:r>
                        <a:rPr kumimoji="0" lang="ru-RU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а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ервис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457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pe of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Dealership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ип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илерского центр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3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3,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venue</a:t>
                      </a: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/ Выручка, руб. *</a:t>
                      </a:r>
                      <a:endParaRPr lang="ru-RU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Gross profit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/ Валовая Прибыль, руб. 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mployees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q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Кол-во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отрудников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mployees  turnover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atio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 </a:t>
                      </a:r>
                      <a:r>
                        <a:rPr kumimoji="0" lang="ru-RU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эф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т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текучести кадров 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%)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2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Investment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bligations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личие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инвестиционных обязательств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597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to</a:t>
                      </a:r>
                      <a:r>
                        <a:rPr kumimoji="0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Фото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АННЫЕ ПО СУЩЕСТВУЮЩЕМУ БИЗНЕСУ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350520" y="6533277"/>
            <a:ext cx="11513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* За текущий год. В случае, если прошло 3 месяца и менее, то предоставить данные за предыдущий год</a:t>
            </a:r>
            <a:endParaRPr sz="10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795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7722428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 ПРОДАЖА НОВЫХ АВТОМОБИЛЕЙ</a:t>
            </a:r>
          </a:p>
        </p:txBody>
      </p:sp>
      <p:graphicFrame>
        <p:nvGraphicFramePr>
          <p:cNvPr id="7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92777"/>
              </p:ext>
            </p:extLst>
          </p:nvPr>
        </p:nvGraphicFramePr>
        <p:xfrm>
          <a:off x="335280" y="2628598"/>
          <a:ext cx="11529059" cy="3591135"/>
        </p:xfrm>
        <a:graphic>
          <a:graphicData uri="http://schemas.openxmlformats.org/drawingml/2006/table">
            <a:tbl>
              <a:tblPr/>
              <a:tblGrid>
                <a:gridCol w="20486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92136"/>
                <a:gridCol w="23627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627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3627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02591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продаж новых автомобилей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7751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ериод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</a:rPr>
                        <a:t>(</a:t>
                      </a:r>
                      <a:r>
                        <a:rPr lang="en-US" sz="1000" b="1" u="none" strike="noStrike" cap="none" dirty="0" err="1" smtClean="0">
                          <a:ln>
                            <a:noFill/>
                          </a:ln>
                        </a:rPr>
                        <a:t>указать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</a:rPr>
                        <a:t> </a:t>
                      </a:r>
                      <a:r>
                        <a:rPr lang="en-US" sz="1000" b="1" u="none" strike="noStrike" cap="none" dirty="0" err="1" smtClean="0">
                          <a:ln>
                            <a:noFill/>
                          </a:ln>
                        </a:rPr>
                        <a:t>месяц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</a:rPr>
                        <a:t> </a:t>
                      </a:r>
                      <a:r>
                        <a:rPr lang="en-US" sz="1000" b="1" u="none" strike="noStrike" cap="none" dirty="0" err="1" smtClean="0">
                          <a:ln>
                            <a:noFill/>
                          </a:ln>
                        </a:rPr>
                        <a:t>начала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</a:rPr>
                        <a:t> </a:t>
                      </a:r>
                      <a:r>
                        <a:rPr lang="en-US" sz="1000" b="1" u="none" strike="noStrike" cap="none" dirty="0" err="1" smtClean="0">
                          <a:ln>
                            <a:noFill/>
                          </a:ln>
                        </a:rPr>
                        <a:t>продаж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</a:rPr>
                        <a:t>)*</a:t>
                      </a:r>
                      <a:endParaRPr lang="ru-RU" sz="1000" b="1" i="0" u="none" strike="noStrike" cap="none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7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51059"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3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5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7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AECOO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7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8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1059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58511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 planned market share, %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ланируемая доля рынка </a:t>
                      </a:r>
                      <a:r>
                        <a:rPr lang="en-US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 | JAECOO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% (после открытия ДЦ)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Group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09446"/>
              </p:ext>
            </p:extLst>
          </p:nvPr>
        </p:nvGraphicFramePr>
        <p:xfrm>
          <a:off x="323528" y="951570"/>
          <a:ext cx="11540811" cy="1512175"/>
        </p:xfrm>
        <a:graphic>
          <a:graphicData uri="http://schemas.openxmlformats.org/drawingml/2006/table">
            <a:tbl>
              <a:tblPr/>
              <a:tblGrid>
                <a:gridCol w="4452579"/>
                <a:gridCol w="2362744"/>
                <a:gridCol w="2362744"/>
                <a:gridCol w="2362744"/>
              </a:tblGrid>
              <a:tr h="288397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 OMODA</a:t>
                      </a:r>
                      <a:r>
                        <a:rPr lang="en-US" sz="1000" b="1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| JAECOO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Cars Registration</a:t>
                      </a:r>
                      <a:r>
                        <a:rPr lang="ru-RU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атистика регистрации новых </a:t>
                      </a:r>
                      <a:r>
                        <a:rPr lang="ru-RU" sz="1000" b="1" u="none" strike="noStrike" cap="none" dirty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обилей</a:t>
                      </a:r>
                      <a:r>
                        <a:rPr lang="en-US" sz="1000" b="1" u="none" strike="noStrike" cap="none" dirty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</a:t>
                      </a:r>
                      <a:r>
                        <a:rPr lang="en-US" sz="1000" b="1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| JAECOO </a:t>
                      </a:r>
                      <a:r>
                        <a:rPr lang="ru-RU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000" b="1" u="none" strike="noStrike" cap="none" dirty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е</a:t>
                      </a:r>
                      <a:endParaRPr lang="ru-RU" sz="1000" b="1" i="0" u="none" strike="noStrike" cap="none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900" b="1" i="0" u="none" strike="noStrike" cap="none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25718" marB="25718" anchor="ctr"/>
                </a:tc>
              </a:tr>
              <a:tr h="4247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</a:t>
                      </a:r>
                      <a:r>
                        <a:rPr lang="en-US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0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ru-RU" sz="10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0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88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Total market of the region</a:t>
                      </a:r>
                      <a:r>
                        <a:rPr lang="ru-RU" sz="1000" b="1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b="1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units</a:t>
                      </a:r>
                      <a:r>
                        <a:rPr lang="ru-RU" sz="1000" b="1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="0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000" b="0" i="0" u="none" strike="noStrike" cap="none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cap="non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odern H Medium"/>
                          <a:cs typeface="Arial" panose="020B0604020202020204" pitchFamily="34" charset="0"/>
                        </a:rPr>
                        <a:t>Общий объём рынка региона, шт.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5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 | JAECOO Sales</a:t>
                      </a:r>
                      <a:r>
                        <a:rPr lang="ru-RU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ts </a:t>
                      </a:r>
                      <a:r>
                        <a:rPr lang="en-US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ru-RU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lang="en-US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</a:t>
                      </a:r>
                      <a:r>
                        <a:rPr lang="en-US" sz="1000" b="0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| JAECOO</a:t>
                      </a:r>
                      <a:r>
                        <a:rPr lang="ru-RU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шт.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5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 | JAECOO Market</a:t>
                      </a:r>
                      <a:r>
                        <a:rPr lang="en-US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</a:t>
                      </a:r>
                      <a:r>
                        <a:rPr lang="ru-RU" sz="1000" b="1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000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рынка</a:t>
                      </a:r>
                      <a:r>
                        <a:rPr lang="en-US" sz="100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ODA</a:t>
                      </a:r>
                      <a:r>
                        <a:rPr lang="en-US" sz="1000" b="0" u="none" strike="noStrike" cap="none" baseline="0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| JAECOO</a:t>
                      </a:r>
                      <a:r>
                        <a:rPr lang="ru-RU" sz="1000" b="0" u="none" strike="noStrike" cap="none" dirty="0" smtClean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000" u="none" strike="noStrike" cap="none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000" u="none" strike="noStrike" cap="none" dirty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000" u="none" strike="noStrike" cap="none" dirty="0">
                          <a:ln>
                            <a:noFill/>
                          </a:ln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Modern H Medium"/>
                        <a:cs typeface="Arial" panose="020B0604020202020204" pitchFamily="34" charset="0"/>
                      </a:endParaRPr>
                    </a:p>
                  </a:txBody>
                  <a:tcPr marT="25718" marB="25718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3"/>
          <p:cNvSpPr txBox="1"/>
          <p:nvPr/>
        </p:nvSpPr>
        <p:spPr bwMode="auto">
          <a:xfrm>
            <a:off x="323528" y="6281817"/>
            <a:ext cx="115408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* Месяц </a:t>
            </a:r>
            <a:r>
              <a:rPr lang="ru-RU" sz="1000" b="1" kern="0" dirty="0">
                <a:latin typeface="Arial" panose="020B0604020202020204" pitchFamily="34" charset="0"/>
                <a:cs typeface="Arial" panose="020B0604020202020204" pitchFamily="34" charset="0"/>
              </a:rPr>
              <a:t>продаж указывается не ранее </a:t>
            </a:r>
            <a:r>
              <a:rPr lang="ru-RU" sz="1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3-х </a:t>
            </a:r>
            <a:r>
              <a:rPr lang="ru-RU" sz="1000" b="1" kern="0" dirty="0">
                <a:latin typeface="Arial" panose="020B0604020202020204" pitchFamily="34" charset="0"/>
                <a:cs typeface="Arial" panose="020B0604020202020204" pitchFamily="34" charset="0"/>
              </a:rPr>
              <a:t>месяцев с момента </a:t>
            </a:r>
            <a:r>
              <a:rPr lang="ru-RU" sz="1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одачи заявки. Допустим более ранний старт продаж, если ДЦ будет готов к открытию</a:t>
            </a:r>
            <a:endParaRPr sz="10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03186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=""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7691948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 ПРОДАЖА ЗАПЧАСТЕЙ И АКСЕССУАРОВ</a:t>
            </a:r>
          </a:p>
        </p:txBody>
      </p:sp>
      <p:graphicFrame>
        <p:nvGraphicFramePr>
          <p:cNvPr id="8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559297"/>
              </p:ext>
            </p:extLst>
          </p:nvPr>
        </p:nvGraphicFramePr>
        <p:xfrm>
          <a:off x="335280" y="987574"/>
          <a:ext cx="11543756" cy="3147544"/>
        </p:xfrm>
        <a:graphic>
          <a:graphicData uri="http://schemas.openxmlformats.org/drawingml/2006/table">
            <a:tbl>
              <a:tblPr/>
              <a:tblGrid>
                <a:gridCol w="16160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66265"/>
                <a:gridCol w="24583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583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446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28838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продаж запчастей и аксессуаров 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2496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ериод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7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924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pare part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Запчасти, 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ccessorie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Аксессуары, 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JAECOO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pare part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Запчасти, 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v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ccessories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Аксессуары, 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39242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б.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452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9</TotalTime>
  <Words>2448</Words>
  <Application>Microsoft Office PowerPoint</Application>
  <PresentationFormat>Широкоэкранный</PresentationFormat>
  <Paragraphs>627</Paragraphs>
  <Slides>3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1" baseType="lpstr">
      <vt:lpstr>Microsoft YaHei</vt:lpstr>
      <vt:lpstr>Arial</vt:lpstr>
      <vt:lpstr>Calibri</vt:lpstr>
      <vt:lpstr>Calibri Light</vt:lpstr>
      <vt:lpstr>Courier New</vt:lpstr>
      <vt:lpstr>Dopis</vt:lpstr>
      <vt:lpstr>Modern H Medium</vt:lpstr>
      <vt:lpstr>Noto Sans Light</vt:lpstr>
      <vt:lpstr>Tahoma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HERY AUTOMOBILE R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alyotov Roman</dc:creator>
  <cp:lastModifiedBy>Nalyotov Roman</cp:lastModifiedBy>
  <cp:revision>62</cp:revision>
  <dcterms:created xsi:type="dcterms:W3CDTF">2025-10-22T12:53:23Z</dcterms:created>
  <dcterms:modified xsi:type="dcterms:W3CDTF">2025-11-19T12:52:56Z</dcterms:modified>
</cp:coreProperties>
</file>